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5"/>
  </p:notesMasterIdLst>
  <p:handoutMasterIdLst>
    <p:handoutMasterId r:id="rId16"/>
  </p:handoutMasterIdLst>
  <p:sldIdLst>
    <p:sldId id="257" r:id="rId2"/>
    <p:sldId id="268" r:id="rId3"/>
    <p:sldId id="269" r:id="rId4"/>
    <p:sldId id="258" r:id="rId5"/>
    <p:sldId id="270" r:id="rId6"/>
    <p:sldId id="261" r:id="rId7"/>
    <p:sldId id="267" r:id="rId8"/>
    <p:sldId id="262" r:id="rId9"/>
    <p:sldId id="263" r:id="rId10"/>
    <p:sldId id="264" r:id="rId11"/>
    <p:sldId id="265" r:id="rId12"/>
    <p:sldId id="266" r:id="rId13"/>
    <p:sldId id="260" r:id="rId14"/>
  </p:sldIdLst>
  <p:sldSz cx="9147175" cy="5145088"/>
  <p:notesSz cx="6797675" cy="9926638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3" autoAdjust="0"/>
    <p:restoredTop sz="89798" autoAdjust="0"/>
  </p:normalViewPr>
  <p:slideViewPr>
    <p:cSldViewPr snapToGrid="0">
      <p:cViewPr varScale="1">
        <p:scale>
          <a:sx n="135" d="100"/>
          <a:sy n="135" d="100"/>
        </p:scale>
        <p:origin x="528" y="126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572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x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mplemented in</a:t>
            </a:r>
            <a:r>
              <a:rPr lang="de-CH" dirty="0"/>
              <a:t> 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ceives</a:t>
            </a:r>
            <a:r>
              <a:rPr lang="de-CH" dirty="0"/>
              <a:t> TCP </a:t>
            </a:r>
            <a:r>
              <a:rPr lang="de-CH" dirty="0" err="1"/>
              <a:t>package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SP32</a:t>
            </a:r>
            <a:endParaRPr lang="en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ends email if threshold is excee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1</a:t>
            </a:fld>
            <a:endParaRPr lang="de-CH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2FA9768-FC19-4B86-BD89-638EED0E91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8" r="19068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hows </a:t>
            </a:r>
            <a:r>
              <a:rPr lang="de-CH" dirty="0" err="1"/>
              <a:t>whole</a:t>
            </a:r>
            <a:r>
              <a:rPr lang="de-CH" dirty="0"/>
              <a:t>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history</a:t>
            </a:r>
            <a:r>
              <a:rPr lang="de-CH" dirty="0"/>
              <a:t> and last 24h </a:t>
            </a:r>
            <a:r>
              <a:rPr lang="de-CH" dirty="0" err="1"/>
              <a:t>history</a:t>
            </a:r>
            <a:r>
              <a:rPr lang="de-CH" dirty="0"/>
              <a:t> in a </a:t>
            </a:r>
            <a:r>
              <a:rPr lang="de-CH" dirty="0" err="1"/>
              <a:t>chart</a:t>
            </a:r>
            <a:endParaRPr lang="en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en-CH" dirty="0"/>
              <a:t>mplemented in </a:t>
            </a:r>
            <a:r>
              <a:rPr lang="de-CH" dirty="0"/>
              <a:t>ASP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Hosted</a:t>
            </a:r>
            <a:r>
              <a:rPr lang="de-CH" dirty="0"/>
              <a:t> on Raspberry Pi 0 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Buildabl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ll </a:t>
            </a:r>
            <a:r>
              <a:rPr lang="de-CH" dirty="0" err="1"/>
              <a:t>plattforms</a:t>
            </a:r>
            <a:r>
              <a:rPr lang="de-CH" dirty="0"/>
              <a:t> (inclusive Linux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FF313E-047F-5048-B7F0-CABB6C43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echs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6BC38D-4EA6-A84F-8478-3EAC51B2DF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F0EA26-CE11-D643-B780-217E580779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CH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ypescript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C#</a:t>
            </a:r>
            <a:endParaRPr lang="en-CH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97D142-7AEC-3F4B-93D0-8B6E053641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</a:t>
            </a:r>
            <a:r>
              <a:rPr lang="en-CH" dirty="0"/>
              <a:t>spressi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ASP.NET Core</a:t>
            </a:r>
            <a:endParaRPr lang="en-CH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348E2D-2A87-6643-9C8F-9303D57C6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aspberry Pi z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iezo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Voltage pulse circuits</a:t>
            </a:r>
          </a:p>
        </p:txBody>
      </p:sp>
    </p:spTree>
    <p:extLst>
      <p:ext uri="{BB962C8B-B14F-4D97-AF65-F5344CB8AC3E}">
        <p14:creationId xmlns:p14="http://schemas.microsoft.com/office/powerpoint/2010/main" val="7294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10E5EDF-A42A-E141-B039-523CE273D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Agend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56F50E-AB26-0A43-BF5D-7484BB7B31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AE2C40-F034-A548-A980-F06D6149F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7E72FF-D618-8A49-805A-8810A1BA8C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Project Organis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573004-56CC-9648-9A08-667727948E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3AE47C-5250-9A4D-8420-024063E758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 dirty="0"/>
              <a:t>ESP3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20CBC0-CF88-F043-88A6-CFE5AF6E7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H" dirty="0"/>
              <a:t>Raspberry Pi</a:t>
            </a:r>
          </a:p>
        </p:txBody>
      </p:sp>
    </p:spTree>
    <p:extLst>
      <p:ext uri="{BB962C8B-B14F-4D97-AF65-F5344CB8AC3E}">
        <p14:creationId xmlns:p14="http://schemas.microsoft.com/office/powerpoint/2010/main" val="1141375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1E6B88-9E28-B342-96E5-7C335569B8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A94F8E-1014-054B-A10F-B688F8CCFC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CH" dirty="0"/>
              <a:t>ome Intro</a:t>
            </a:r>
          </a:p>
        </p:txBody>
      </p:sp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015AF73-2CBF-504C-A3F9-A2A915E36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FFA1C8C-C21B-7545-8F75-1B2DEBBBFF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CH"/>
              <a:t>efined structure and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5E79EE-E057-2A44-BEF3-A2F9B564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Orga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61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E88E6AC8-FCCE-E942-809F-E0249528DD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06" r="2680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en-CH" dirty="0"/>
              <a:t>Integrated Circuits</a:t>
            </a:r>
          </a:p>
        </p:txBody>
      </p:sp>
    </p:spTree>
    <p:extLst>
      <p:ext uri="{BB962C8B-B14F-4D97-AF65-F5344CB8AC3E}">
        <p14:creationId xmlns:p14="http://schemas.microsoft.com/office/powerpoint/2010/main" val="412907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en-CH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88</Words>
  <Application>Microsoft Office PowerPoint</Application>
  <PresentationFormat>Benutzerdefiniert</PresentationFormat>
  <Paragraphs>65</Paragraphs>
  <Slides>13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xandar, Kozlov Victor, Stofer Stephan</vt:lpstr>
      <vt:lpstr>Agenda</vt:lpstr>
      <vt:lpstr>Intro</vt:lpstr>
      <vt:lpstr>Project Organisation</vt:lpstr>
      <vt:lpstr>Integrated Circuits</vt:lpstr>
      <vt:lpstr>Integrated Circuits</vt:lpstr>
      <vt:lpstr>Espressif ESP32</vt:lpstr>
      <vt:lpstr>ESP32 Application</vt:lpstr>
      <vt:lpstr>ESP32 Config</vt:lpstr>
      <vt:lpstr>Backend Server</vt:lpstr>
      <vt:lpstr>Frontend</vt:lpstr>
      <vt:lpstr>Techstack</vt:lpstr>
      <vt:lpstr>Questions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Kozlov Victor I.BSCI.1801</cp:lastModifiedBy>
  <cp:revision>153</cp:revision>
  <cp:lastPrinted>2018-01-08T23:57:59Z</cp:lastPrinted>
  <dcterms:created xsi:type="dcterms:W3CDTF">2017-12-20T12:16:39Z</dcterms:created>
  <dcterms:modified xsi:type="dcterms:W3CDTF">2021-01-07T02:12:06Z</dcterms:modified>
</cp:coreProperties>
</file>